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257" r:id="rId3"/>
    <p:sldId id="330" r:id="rId4"/>
    <p:sldId id="405" r:id="rId5"/>
    <p:sldId id="410" r:id="rId6"/>
    <p:sldId id="408" r:id="rId7"/>
    <p:sldId id="409" r:id="rId8"/>
    <p:sldId id="411" r:id="rId9"/>
    <p:sldId id="404" r:id="rId10"/>
    <p:sldId id="406" r:id="rId11"/>
    <p:sldId id="407" r:id="rId12"/>
    <p:sldId id="413" r:id="rId13"/>
  </p:sldIdLst>
  <p:sldSz cx="12192000" cy="6858000"/>
  <p:notesSz cx="6797675" cy="9926638"/>
  <p:custDataLst>
    <p:tags r:id="rId16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Συντάκτης" initials="Σ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62AB"/>
    <a:srgbClr val="41719C"/>
    <a:srgbClr val="566579"/>
    <a:srgbClr val="9DC3E6"/>
    <a:srgbClr val="767171"/>
    <a:srgbClr val="A9CBE9"/>
    <a:srgbClr val="FFFFFF"/>
    <a:srgbClr val="D6D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Φωτεινό στυλ 3 - Έμφαση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FD4443E-F989-4FC4-A0C8-D5A2AF1F390B}" styleName="Σκούρο στυλ 1 - Έμφαση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4660" autoAdjust="0"/>
  </p:normalViewPr>
  <p:slideViewPr>
    <p:cSldViewPr snapToGrid="0">
      <p:cViewPr varScale="1">
        <p:scale>
          <a:sx n="116" d="100"/>
          <a:sy n="116" d="100"/>
        </p:scale>
        <p:origin x="67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585E84-B808-4E70-B2DD-9B2263C6CE34}" type="datetimeFigureOut">
              <a:rPr lang="el-GR" smtClean="0"/>
              <a:pPr/>
              <a:t>11/6/2020</a:t>
            </a:fld>
            <a:endParaRPr lang="el-GR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E1269-20C3-432A-8FBE-062EC4BC3146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921660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6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166" y="3415069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27BC-47AC-45D0-82F1-AE18BD17C65B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20442-2235-4E08-B808-C89E2BD34959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1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165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89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7A8F0C80-1709-4E76-B400-96F47AFBB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8A66F-D8D3-4492-906A-88C2D2751B75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8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9856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FF622-434D-4710-B613-CB9BDE928E0B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113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3360-D31D-44B9-80CC-3F72D955AF5E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7573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63CF2-3650-46FF-BC32-357744F118BF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218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9E973-5C04-4ED1-BF8A-33EDA50F0C32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476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CE040-1237-4CDD-AE61-E4D15E8FC658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340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14B1D-AEF3-4AEF-903E-A68460C27593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172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636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8A66F-D8D3-4492-906A-88C2D2751B75}" type="datetime1">
              <a:rPr lang="en-US" smtClean="0"/>
              <a:pPr/>
              <a:t>6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42C18-93D6-43AE-B20D-64CE51335469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6455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27BC-47AC-45D0-82F1-AE18BD17C65B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563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20442-2235-4E08-B808-C89E2BD34959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514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FF622-434D-4710-B613-CB9BDE928E0B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3360-D31D-44B9-80CC-3F72D955AF5E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63CF2-3650-46FF-BC32-357744F118BF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20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9E973-5C04-4ED1-BF8A-33EDA50F0C32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CE040-1237-4CDD-AE61-E4D15E8FC658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14B1D-AEF3-4AEF-903E-A68460C27593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42C18-93D6-43AE-B20D-64CE51335469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81965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ight Triangle 7"/>
          <p:cNvSpPr/>
          <p:nvPr userDrawn="1"/>
        </p:nvSpPr>
        <p:spPr>
          <a:xfrm>
            <a:off x="0" y="4724400"/>
            <a:ext cx="2647950" cy="21336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E1121D95-C3B9-43CB-BE6E-5ABA30791757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89" y="5610476"/>
            <a:ext cx="680799" cy="6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ight Triangle 7"/>
          <p:cNvSpPr/>
          <p:nvPr userDrawn="1"/>
        </p:nvSpPr>
        <p:spPr>
          <a:xfrm>
            <a:off x="0" y="4724400"/>
            <a:ext cx="2647950" cy="21336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E1121D95-C3B9-43CB-BE6E-5ABA30791757}" type="datetime1">
              <a:rPr lang="en-US" smtClean="0"/>
              <a:pPr/>
              <a:t>6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31" y="5552420"/>
            <a:ext cx="680799" cy="6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081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29762985-D1B4-4C79-9EC1-9887985F2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94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326756"/>
            <a:ext cx="5312230" cy="870844"/>
          </a:xfrm>
        </p:spPr>
        <p:txBody>
          <a:bodyPr>
            <a:noAutofit/>
          </a:bodyPr>
          <a:lstStyle/>
          <a:p>
            <a:pPr algn="ctr"/>
            <a:r>
              <a:rPr lang="el-GR" sz="2800" b="1" dirty="0" smtClean="0">
                <a:solidFill>
                  <a:schemeClr val="bg1"/>
                </a:solidFill>
              </a:rPr>
              <a:t>Υπουργείο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l-GR" sz="2800" b="1" dirty="0" smtClean="0">
                <a:solidFill>
                  <a:schemeClr val="bg1"/>
                </a:solidFill>
              </a:rPr>
              <a:t>Ναυτιλίας </a:t>
            </a:r>
            <a:br>
              <a:rPr lang="el-GR" sz="2800" b="1" dirty="0" smtClean="0">
                <a:solidFill>
                  <a:schemeClr val="bg1"/>
                </a:solidFill>
              </a:rPr>
            </a:br>
            <a:r>
              <a:rPr lang="el-GR" sz="2800" b="1" dirty="0" smtClean="0">
                <a:solidFill>
                  <a:schemeClr val="bg1"/>
                </a:solidFill>
              </a:rPr>
              <a:t>και Νησιωτικής Πολιτικής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1086" y="609485"/>
            <a:ext cx="7831365" cy="3425486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l-GR" sz="2800" u="sng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Σχέδιο Νόμου</a:t>
            </a:r>
          </a:p>
          <a:p>
            <a:pPr>
              <a:lnSpc>
                <a:spcPct val="130000"/>
              </a:lnSpc>
            </a:pP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«</a:t>
            </a:r>
            <a:r>
              <a:rPr lang="el-GR" sz="40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Ολοκληρωμένη Θαλάσσια Πολιτική στο Νησιωτικό Χώρο και λοιπές διατάξεις</a:t>
            </a: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»</a:t>
            </a:r>
          </a:p>
          <a:p>
            <a:pPr>
              <a:lnSpc>
                <a:spcPct val="130000"/>
              </a:lnSpc>
            </a:pPr>
            <a:endParaRPr lang="el-GR" sz="3600" b="1" dirty="0" smtClean="0">
              <a:solidFill>
                <a:schemeClr val="accent1">
                  <a:lumMod val="50000"/>
                </a:schemeClr>
              </a:solidFill>
              <a:ea typeface="+mj-ea"/>
            </a:endParaRPr>
          </a:p>
          <a:p>
            <a:pPr>
              <a:lnSpc>
                <a:spcPct val="130000"/>
              </a:lnSpc>
            </a:pPr>
            <a:endParaRPr lang="el-GR" sz="3600" b="1" dirty="0" smtClean="0">
              <a:solidFill>
                <a:schemeClr val="accent1">
                  <a:lumMod val="50000"/>
                </a:schemeClr>
              </a:solidFill>
              <a:ea typeface="+mj-ea"/>
            </a:endParaRPr>
          </a:p>
          <a:p>
            <a:pPr>
              <a:lnSpc>
                <a:spcPct val="130000"/>
              </a:lnSpc>
            </a:pP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10</a:t>
            </a:r>
            <a:r>
              <a:rPr lang="el-GR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.</a:t>
            </a: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6</a:t>
            </a:r>
            <a:r>
              <a:rPr lang="el-GR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.2020</a:t>
            </a: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l-GR" sz="2800" b="1" dirty="0"/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- Ορθογώνιο"/>
          <p:cNvSpPr/>
          <p:nvPr/>
        </p:nvSpPr>
        <p:spPr>
          <a:xfrm>
            <a:off x="1785256" y="1146629"/>
            <a:ext cx="10189029" cy="1451428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2" name="11 - Ορθογώνιο"/>
          <p:cNvSpPr/>
          <p:nvPr/>
        </p:nvSpPr>
        <p:spPr>
          <a:xfrm>
            <a:off x="1792516" y="3904343"/>
            <a:ext cx="10189029" cy="1139326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1206665" y="134550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1202661" y="2707387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1192151" y="407116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770735" y="1219200"/>
            <a:ext cx="103632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νισχύεται η έμπρακτη στήριξη των στελεχών του Λ.Σ.-ΕΛ.ΑΚΤ. από την πολιτεία με την </a:t>
            </a:r>
            <a:r>
              <a:rPr lang="el-GR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νεργοποίηση της 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διάταξης περί προκαταβολής των δικαστικών και δικηγορικών </a:t>
            </a:r>
            <a:r>
              <a:rPr lang="el-GR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ξόδων </a:t>
            </a:r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που προκύπτουν  από ποινικές και αστικές υποθέσεις που άγονται στο δικαστήριο ως απόρροια της εκτέλεσης των διατεταγμένων καθηκόντων τους.  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μοθετούνται ω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νεξάρτητες επιχειρησιακές μονάδες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ο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ημόσιες Σχολές Εμπορικού Ναυτικού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οι Λιμενικές Αρχές, οι Πλοηγικοί Σταθμοί και οι Επισκευαστικές Βάσεις του ΛΣ, συμβάλλοντας στην αποκέντρωση, την ευελιξία και την αποτελεσματικότητα σύναψης δημοσίων συμβάσεων κατά τους όρους του 4412/2016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Ρυθμίζεται σαφώς η 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ξαίρεση από τη διαδικασία περιβαλλοντικών </a:t>
            </a:r>
            <a:r>
              <a:rPr lang="el-GR" b="1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αδειοδοτήσεων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για έργα μείζονος εθνικής σημασίας αρμοδιότητας Λ.Σ.-ΕΛ.ΑΚΤ. που εξυπηρετούν σκοπούς Ασφάλειας, Επιτήρησης και Ελέγχου της θαλάσσιας κυκλοφορίας και της ασφάλειας ναυσιπλοΐας  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όβλεψη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ύξησης στις οργανικές θέσεις του πολιτικού προσωπικού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υ ΥΝΑΝΠ για κάλυψη των πρόσθετων αναγκών σε νευραλγικούς τομείς όπως της προώθησης ναυτιλιακών επενδύσεων, στον έλεγχο και επιθεώρηση πλοίων, της υποστήριξης του έργου των δημοσίων σχολών ναυτικής εκπαίδευσης</a:t>
            </a: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rm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Ρυθμίσεις – Λοιπές Διατάξεις (Β’ Μέρος)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10" name="Right Triangle 16"/>
          <p:cNvSpPr/>
          <p:nvPr/>
        </p:nvSpPr>
        <p:spPr>
          <a:xfrm>
            <a:off x="1209921" y="519654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34271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ας ευχαριστώ! 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6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πλαίσιο σχεδιασμού…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6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Το πλαίσιο που «επιβάλει» τη νομοθέτηση…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930899" y="131647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941409" y="222842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945413" y="324387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49829" y="1262742"/>
            <a:ext cx="1050834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8,7%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ης συνολικής επιφάνειας του εδάφους της χώρας μας αποτελείται από νησιά με πληθυσμό που αντιστοιχεί σ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5,1%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συνολικού εγχώριου πληθυσμού.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5% του ΑΕΠ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ης χώρας, προέρχεται από δραστηριότητες που σχετίζονται με ναυτιλία, τουρισμό και το στοιχείο της «θάλασσας». Τα νησιά και ο παράκτιος χώρος της Ελλάδας, είναι το θεμέλιο της ελληνικής οικονομίας.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έχρι σήμερα, η θάλασσα και ο νησιωτικός χώρος ΔΕΝ αντιμετωπίσθηκαν ως πεδίο υιοθέτησης δημόσιας πολιτικής. 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υιοθέτηση μίας ολοκληρωμένης θαλάσσιας πολιτικής στο νησιωτικό χώρο είν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υνταγματική υποχρέωση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ου πηγάζει από τα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άρθρα 101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αρ. 4 κ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06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παρ. 1 του Συντάγματος.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ε ευρωπαϊκό επίπεδο, στη Συνθήκη της «Λισσαβόνας» (Συνθήκη της ΕΕ) στα άρθρα 170 και 174, αναγνωρίστηκε η ανάγκη διάκρισης της αναπτυξιακής παρέμβασης σε ειδικές κατηγορίες χώρου, προκειμένου να διευκολυνθεί η εδραίωση συστήματος ανοιχτών και ανταγωνιστικών αγορών.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ight Triangle 20"/>
          <p:cNvSpPr/>
          <p:nvPr/>
        </p:nvSpPr>
        <p:spPr>
          <a:xfrm>
            <a:off x="952673" y="402037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ight Triangle 20"/>
          <p:cNvSpPr/>
          <p:nvPr/>
        </p:nvSpPr>
        <p:spPr>
          <a:xfrm>
            <a:off x="1003475" y="488395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Το πλαίσιο που «επιβάλει» τη νομοθέτηση…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930899" y="131647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941409" y="222842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945413" y="324387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407885" y="1262742"/>
            <a:ext cx="1050834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τρίπτυχο «</a:t>
            </a:r>
            <a:r>
              <a:rPr lang="el-GR" b="1" u="sng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</a:t>
            </a:r>
            <a:r>
              <a:rPr lang="el-GR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- Θαλάσσια Οικονομία - Γαλάζια Ανάπτυξη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 αποτελεί το δομικό στοιχείο της νέας Νησιωτικής Πολιτικής που πρέπει να αποκτήσει η χώρα και είναι έννοιες άρρηκτα συνδεδεμένες μεταξύ τους.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Ο ελληνικός θαλάσσιος χώρος του Αιγαίου, της Κρήτης και του Ιονίου στην Ανατολική Μεσόγειο, έχε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ιεθνή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κ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υρωπαϊκό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χαρακτήρα ταυτόχρονα.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διατήρηση ενός οικονομικά και κοινωνικά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ού ζωτικού χώρου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αποτελεί δικλείδα («ασπίδα»)  προστασίας εθνικών  κυριαρχικών δικαιωμάτων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α νησιά μας αντιμετωπίζουν ακόμη δυσκολίε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σβασιμότητα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l-GR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σπελασιμότητα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διασφάλιση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λάχιστων «στρατηγικών» υποδομών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παροχών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«Νέα Νησιωτική Πολιτική» και το νομοσχέδιο ορίζει: (α)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τεραιότητες, (β) Μέσα, (γ) Χρηματοδοτικά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ργαλεία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(δ)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ηχανισμού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ποτελεσματικής Διακυβέρνηση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 συνδέει τη νησιωτική ανάπτυξη με την προώθηση της Θαλάσσιας Οικονομίας όπως ορίζεται από το εθνικό και </a:t>
            </a:r>
            <a:r>
              <a:rPr lang="el-GR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ωσιακό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δίκαιο.  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ight Triangle 20"/>
          <p:cNvSpPr/>
          <p:nvPr/>
        </p:nvSpPr>
        <p:spPr>
          <a:xfrm>
            <a:off x="952673" y="402037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ight Triangle 20"/>
          <p:cNvSpPr/>
          <p:nvPr/>
        </p:nvSpPr>
        <p:spPr>
          <a:xfrm>
            <a:off x="1003475" y="488395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ασικές Ρυθμίσεις – Τι νέο εισάγει…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6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Σκοπός – Αντικείμενο – Άξονες </a:t>
            </a:r>
            <a:endParaRPr lang="el-GR" dirty="0"/>
          </a:p>
        </p:txBody>
      </p:sp>
      <p:sp>
        <p:nvSpPr>
          <p:cNvPr id="30" name="Right Triangle 29"/>
          <p:cNvSpPr/>
          <p:nvPr/>
        </p:nvSpPr>
        <p:spPr>
          <a:xfrm>
            <a:off x="1090553" y="134550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1130091" y="253321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1134098" y="395504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553025" y="1161144"/>
            <a:ext cx="1050834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ε το προτεινόμενο νομοσχέδιο προτείνεται:</a:t>
            </a: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α) η ουσιαστική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εργοποίηση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Κράτους,</a:t>
            </a: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β) η αναβάθμιση του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ποπτικού ρόλου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υ Υπ. Ναυτιλίας και Νησιωτικής Πολιτικής </a:t>
            </a:r>
          </a:p>
          <a:p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για την προώθηση: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στόχου της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νησιωτικής συνοχής»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ιδίως στους τομείς πολιτικής που σχετίζονται με τις καθοριστικές αρμοδιότητες του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ης συμπληρωματικότητας με τα συναρμόδια Υπουργεία.  </a:t>
            </a:r>
          </a:p>
          <a:p>
            <a:pPr>
              <a:buFont typeface="Wingdings" pitchFamily="2" charset="2"/>
              <a:buChar char="q"/>
            </a:pPr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sz="2000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ιδικοί Αναπτυξιακοί Στόχοι που θα αποτελέσουν τη «ραχοκοκαλιά» της Στρατηγικής: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Λιμενική Πολιτική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– Θαλάσσιοι Λιμένες και Ναυτιλιακές Υποδομές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Θαλάσσιες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δομεταφορέ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κτοπλοΐ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Νησιωτική ανταγωνιστικότητα και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πιχειρηματικότητ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αλάσσια Επιτήρηση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Στρατηγική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σφάλειας στη Θάλασσ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αλάζια Επαγγέλματα – Απασχόληση και επενδύσεις στ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Γαλάζια Οικονομία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Ψηφιακή Διακυβέρνηση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τα Νησιά </a:t>
            </a:r>
          </a:p>
          <a:p>
            <a:pPr>
              <a:buFont typeface="Wingdings" pitchFamily="2" charset="2"/>
              <a:buChar char="q"/>
            </a:pPr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- Ορθογώνιο"/>
          <p:cNvSpPr/>
          <p:nvPr/>
        </p:nvSpPr>
        <p:spPr>
          <a:xfrm>
            <a:off x="1335313" y="2351313"/>
            <a:ext cx="10406743" cy="2496457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Τι νέο εισάγει…</a:t>
            </a:r>
            <a:endParaRPr lang="el-GR" dirty="0"/>
          </a:p>
        </p:txBody>
      </p:sp>
      <p:sp>
        <p:nvSpPr>
          <p:cNvPr id="30" name="Right Triangle 29"/>
          <p:cNvSpPr/>
          <p:nvPr/>
        </p:nvSpPr>
        <p:spPr>
          <a:xfrm>
            <a:off x="843815" y="124390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868839" y="247516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887357" y="491298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78857" y="1161144"/>
            <a:ext cx="1042125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πίζεται η υποχρέωσ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τάρτισης Εθνικής Στρατηγικής για την Ολοκληρωμένη Θαλάσσια Πολιτική στο </a:t>
            </a:r>
            <a:r>
              <a:rPr lang="el-GR" sz="20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ο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χώρο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με συγκεκριμένους </a:t>
            </a:r>
            <a:r>
              <a:rPr lang="el-GR" sz="2000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είκτε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και αναπτυξιακούς </a:t>
            </a:r>
            <a:r>
              <a:rPr lang="el-GR" sz="2000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τόχους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-  με ορίζοντα 5ετίας </a:t>
            </a:r>
            <a:endParaRPr lang="el-GR" sz="2000" u="sng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ισάγονται </a:t>
            </a:r>
            <a:r>
              <a:rPr lang="el-GR" sz="2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Καινοτόμα Εργαλεία Χρηματοδότησης</a:t>
            </a:r>
            <a:r>
              <a:rPr lang="el-GR" sz="2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α) έργων δημοσίου χαρακτήρα («Πρόγραμμα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ΝΕΑΡΧΟ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),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β) σχέδια αναδιάρθρωσης ή/ και συγκράτησης λειτουργικού κόστους νησιωτικής επιχειρηματικότητας («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Πρόγραμμα Χρηματοδότησης Νησιωτικής Επιχειρηματικότητα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) και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γ) δράσεων για την προώθηση της καινοτόμου επιχειρηματικότητας στους τομείς της Θαλάσσιας και της Γαλάζιας Οικονομίας –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Δημιουργία </a:t>
            </a:r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und of Fund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για </a:t>
            </a:r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ue Economy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πίζεται η υποχρέωση σύνταξης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Έκθεσης Αξιολόγησης Πολιτικών στο Νησιωτικό Χώρο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ια την ετήσια αποτίμηση των πολιτικών και δράσεων στο νησιωτικό χώρο – Η «ρήτρα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 εφαρμόζεται στην πράξη</a:t>
            </a:r>
          </a:p>
          <a:p>
            <a:pPr algn="just"/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- Ορθογώνιο"/>
          <p:cNvSpPr/>
          <p:nvPr/>
        </p:nvSpPr>
        <p:spPr>
          <a:xfrm>
            <a:off x="1335314" y="2830286"/>
            <a:ext cx="10058400" cy="1451428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843815" y="141807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854325" y="293961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858329" y="449207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49829" y="1335312"/>
            <a:ext cx="982617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βλέπεται η σύστασ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θνικού Μητρώου Φορέων Θαλάσσιας Οικονομί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ια την προώθηση της Εθνικής Στρατηγικής, και τη χαρτογράφηση και το συντονισμό των φορέων στα πεδία της θαλάσσιας οικονομίας και ανάπτυξης, της Γαλάζιας Οικονομίας και της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Θεσπίζεται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ιδικό Πρόγραμμα Θεσμικής Ενδυνάμωσης Φορέων της Θαλάσσιας Οικονομία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στο οποίο εντάσσονται δράσεις, μελέτες και ενέργειες για τη θεσμική ενδυνάμωση των φορέων της θαλάσσιας οικονομίας («Πρόγραμμα Θεσμικής Ενδυνάμωσης»)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ημιουργείται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λατφόρμα Ενιαίας Παρακολούθησης και Τεκμηρίωση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στους τομείς της Εθνικής Στρατηγικής ως μηχανισμός παρακολούθησης και τεκμηρίωσης δεδομένων που συμβάλουν στη λήψη αποφάσεων ή/και τη διαχείριση γνώσης στα πεδία της Εθνικής Στρατηγικής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Τι νέο εισάγει…</a:t>
            </a:r>
            <a:endParaRPr lang="el-GR" b="1" dirty="0"/>
          </a:p>
        </p:txBody>
      </p:sp>
    </p:spTree>
    <p:extLst>
      <p:ext uri="{BB962C8B-B14F-4D97-AF65-F5344CB8AC3E}">
        <p14:creationId xmlns:p14="http://schemas.microsoft.com/office/powerpoint/2010/main" val="25462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Ρυθμίσεις – Λοιπές Διατάξεις (Β’ Μέρος)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65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CzR45tRzyvWgv8L4FT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7</Words>
  <Application>Microsoft Office PowerPoint</Application>
  <PresentationFormat>Ευρεία οθόνη</PresentationFormat>
  <Paragraphs>82</Paragraphs>
  <Slides>11</Slides>
  <Notes>0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1</vt:i4>
      </vt:variant>
    </vt:vector>
  </HeadingPairs>
  <TitlesOfParts>
    <vt:vector size="17" baseType="lpstr">
      <vt:lpstr>Arial</vt:lpstr>
      <vt:lpstr>Calibri</vt:lpstr>
      <vt:lpstr>Wingdings</vt:lpstr>
      <vt:lpstr>Office Theme</vt:lpstr>
      <vt:lpstr>1_Office Theme</vt:lpstr>
      <vt:lpstr>think-cell Slide</vt:lpstr>
      <vt:lpstr>Υπουργείο Ναυτιλίας  και Νησιωτικής Πολιτικής </vt:lpstr>
      <vt:lpstr>Παρουσίαση του PowerPoint</vt:lpstr>
      <vt:lpstr>Το πλαίσιο που «επιβάλει» τη νομοθέτηση…</vt:lpstr>
      <vt:lpstr>Το πλαίσιο που «επιβάλει» τη νομοθέτηση…</vt:lpstr>
      <vt:lpstr>Παρουσίαση του PowerPoint</vt:lpstr>
      <vt:lpstr>Βασικές Ρυθμίσεις | Σκοπός – Αντικείμενο – Άξονες </vt:lpstr>
      <vt:lpstr>Βασικές Ρυθμίσεις | Τι νέο εισάγει…</vt:lpstr>
      <vt:lpstr>Βασικές Ρυθμίσεις | Τι νέο εισάγει…</vt:lpstr>
      <vt:lpstr>Παρουσίαση του PowerPoint</vt:lpstr>
      <vt:lpstr>Ρυθμίσεις – Λοιπές Διατάξεις (Β’ Μέρος)</vt:lpstr>
      <vt:lpstr>Παρουσίαση του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7-09T09:31:45Z</dcterms:created>
  <dcterms:modified xsi:type="dcterms:W3CDTF">2020-06-11T09:50:26Z</dcterms:modified>
</cp:coreProperties>
</file>